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295" r:id="rId2"/>
    <p:sldId id="311" r:id="rId3"/>
    <p:sldId id="298" r:id="rId4"/>
    <p:sldId id="312" r:id="rId5"/>
    <p:sldId id="313" r:id="rId6"/>
    <p:sldId id="306" r:id="rId7"/>
    <p:sldId id="310" r:id="rId8"/>
    <p:sldId id="304" r:id="rId9"/>
    <p:sldId id="309" r:id="rId10"/>
    <p:sldId id="308" r:id="rId11"/>
    <p:sldId id="303" r:id="rId12"/>
    <p:sldId id="300" r:id="rId13"/>
    <p:sldId id="297" r:id="rId14"/>
    <p:sldId id="281" r:id="rId15"/>
    <p:sldId id="294" r:id="rId16"/>
    <p:sldId id="256" r:id="rId17"/>
    <p:sldId id="282" r:id="rId18"/>
    <p:sldId id="292" r:id="rId19"/>
    <p:sldId id="283" r:id="rId20"/>
    <p:sldId id="284" r:id="rId21"/>
    <p:sldId id="285" r:id="rId22"/>
    <p:sldId id="286" r:id="rId23"/>
    <p:sldId id="287" r:id="rId24"/>
    <p:sldId id="289" r:id="rId25"/>
    <p:sldId id="265" r:id="rId26"/>
    <p:sldId id="263" r:id="rId27"/>
    <p:sldId id="264" r:id="rId28"/>
  </p:sldIdLst>
  <p:sldSz cx="9144000" cy="6858000" type="screen4x3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5806" autoAdjust="0"/>
  </p:normalViewPr>
  <p:slideViewPr>
    <p:cSldViewPr>
      <p:cViewPr varScale="1">
        <p:scale>
          <a:sx n="106" d="100"/>
          <a:sy n="106" d="100"/>
        </p:scale>
        <p:origin x="96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6770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4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2</a:t>
            </a:fld>
            <a:endParaRPr lang="de-DE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3</a:t>
            </a:fld>
            <a:endParaRPr lang="de-DE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4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8135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5389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920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6781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gif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95805331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363001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244367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212976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3573016"/>
            <a:ext cx="0" cy="17567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1772816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124744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2492896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BC8B4FD-365E-E942-B0B9-374BB36CB8E7}"/>
              </a:ext>
            </a:extLst>
          </p:cNvPr>
          <p:cNvGrpSpPr/>
          <p:nvPr/>
        </p:nvGrpSpPr>
        <p:grpSpPr>
          <a:xfrm>
            <a:off x="107504" y="862719"/>
            <a:ext cx="8928992" cy="5975260"/>
            <a:chOff x="-252536" y="332656"/>
            <a:chExt cx="9721080" cy="6505323"/>
          </a:xfrm>
        </p:grpSpPr>
        <p:sp>
          <p:nvSpPr>
            <p:cNvPr id="122" name="Rectangle 6"/>
            <p:cNvSpPr/>
            <p:nvPr/>
          </p:nvSpPr>
          <p:spPr>
            <a:xfrm>
              <a:off x="1691680" y="4095546"/>
              <a:ext cx="7776864" cy="25738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3" name="Textfeld 162"/>
            <p:cNvSpPr txBox="1"/>
            <p:nvPr/>
          </p:nvSpPr>
          <p:spPr>
            <a:xfrm>
              <a:off x="3356446" y="5157192"/>
              <a:ext cx="142821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Direc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Thing-to-Thing</a:t>
              </a:r>
            </a:p>
            <a:p>
              <a:pPr algn="ctr"/>
              <a:r>
                <a:rPr lang="en-US" sz="1400" b="1" dirty="0">
                  <a:latin typeface="+mj-lt"/>
                </a:rPr>
                <a:t>Interaction</a:t>
              </a:r>
            </a:p>
          </p:txBody>
        </p:sp>
        <p:sp>
          <p:nvSpPr>
            <p:cNvPr id="18" name="角丸四角形 6"/>
            <p:cNvSpPr/>
            <p:nvPr/>
          </p:nvSpPr>
          <p:spPr bwMode="auto">
            <a:xfrm>
              <a:off x="8029682" y="451744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grpSp>
          <p:nvGrpSpPr>
            <p:cNvPr id="20" name="Group 60"/>
            <p:cNvGrpSpPr/>
            <p:nvPr/>
          </p:nvGrpSpPr>
          <p:grpSpPr>
            <a:xfrm>
              <a:off x="8028384" y="4216907"/>
              <a:ext cx="323256" cy="323256"/>
              <a:chOff x="6235706" y="4922175"/>
              <a:chExt cx="268034" cy="268034"/>
            </a:xfrm>
          </p:grpSpPr>
          <p:sp>
            <p:nvSpPr>
              <p:cNvPr id="2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7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28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29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0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1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sp>
          <p:nvSpPr>
            <p:cNvPr id="21" name="Textfeld 126"/>
            <p:cNvSpPr txBox="1"/>
            <p:nvPr/>
          </p:nvSpPr>
          <p:spPr>
            <a:xfrm>
              <a:off x="6355824" y="515719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omplemen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Existing Devices</a:t>
              </a:r>
            </a:p>
          </p:txBody>
        </p:sp>
        <p:sp>
          <p:nvSpPr>
            <p:cNvPr id="22" name="Textfeld 126"/>
            <p:cNvSpPr txBox="1"/>
            <p:nvPr/>
          </p:nvSpPr>
          <p:spPr>
            <a:xfrm>
              <a:off x="8518578" y="4727938"/>
              <a:ext cx="277837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latin typeface="+mj-lt"/>
                </a:rPr>
                <a:t>+</a:t>
              </a:r>
            </a:p>
          </p:txBody>
        </p:sp>
        <p:sp>
          <p:nvSpPr>
            <p:cNvPr id="23" name="Textfeld 126"/>
            <p:cNvSpPr txBox="1"/>
            <p:nvPr/>
          </p:nvSpPr>
          <p:spPr>
            <a:xfrm>
              <a:off x="8731774" y="5127722"/>
              <a:ext cx="490751" cy="2513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900" b="1">
                  <a:latin typeface="+mj-lt"/>
                  <a:cs typeface="Arial" panose="020B0604020202020204" pitchFamily="34" charset="0"/>
                </a:rPr>
                <a:t>Thing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500290" y="5099062"/>
              <a:ext cx="352881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latin typeface="+mj-lt"/>
                  <a:sym typeface="Symbol"/>
                </a:rPr>
                <a:t></a:t>
              </a:r>
              <a:endParaRPr lang="en-US" sz="1100" b="1">
                <a:latin typeface="+mj-lt"/>
              </a:endParaRPr>
            </a:p>
          </p:txBody>
        </p:sp>
        <p:sp>
          <p:nvSpPr>
            <p:cNvPr id="25" name="Left-Right Arrow 70"/>
            <p:cNvSpPr/>
            <p:nvPr/>
          </p:nvSpPr>
          <p:spPr>
            <a:xfrm>
              <a:off x="6255452" y="476773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grpSp>
          <p:nvGrpSpPr>
            <p:cNvPr id="33" name="Group 35"/>
            <p:cNvGrpSpPr/>
            <p:nvPr/>
          </p:nvGrpSpPr>
          <p:grpSpPr>
            <a:xfrm>
              <a:off x="4948666" y="4195977"/>
              <a:ext cx="324321" cy="324321"/>
              <a:chOff x="6235706" y="4922175"/>
              <a:chExt cx="268034" cy="268034"/>
            </a:xfrm>
          </p:grpSpPr>
          <p:sp>
            <p:nvSpPr>
              <p:cNvPr id="3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5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6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7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8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9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pic>
          <p:nvPicPr>
            <p:cNvPr id="44" name="図 1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902" y="5877272"/>
              <a:ext cx="1469410" cy="739953"/>
            </a:xfrm>
            <a:prstGeom prst="rect">
              <a:avLst/>
            </a:prstGeom>
          </p:spPr>
        </p:pic>
        <p:grpSp>
          <p:nvGrpSpPr>
            <p:cNvPr id="45" name="Gruppieren 145"/>
            <p:cNvGrpSpPr/>
            <p:nvPr/>
          </p:nvGrpSpPr>
          <p:grpSpPr>
            <a:xfrm>
              <a:off x="5573984" y="544034"/>
              <a:ext cx="3096344" cy="4483260"/>
              <a:chOff x="5369713" y="1424798"/>
              <a:chExt cx="3096344" cy="4483260"/>
            </a:xfrm>
          </p:grpSpPr>
          <p:grpSp>
            <p:nvGrpSpPr>
              <p:cNvPr id="46" name="Group 8"/>
              <p:cNvGrpSpPr/>
              <p:nvPr/>
            </p:nvGrpSpPr>
            <p:grpSpPr>
              <a:xfrm>
                <a:off x="5369713" y="1424798"/>
                <a:ext cx="3096344" cy="2860068"/>
                <a:chOff x="5724128" y="404664"/>
                <a:chExt cx="2304256" cy="2232248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4" name="Rectangle 6"/>
                <p:cNvSpPr/>
                <p:nvPr/>
              </p:nvSpPr>
              <p:spPr>
                <a:xfrm>
                  <a:off x="6077378" y="1439094"/>
                  <a:ext cx="1597756" cy="119781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  <p:sp>
              <p:nvSpPr>
                <p:cNvPr id="75" name="Isosceles Triangle 7"/>
                <p:cNvSpPr/>
                <p:nvPr/>
              </p:nvSpPr>
              <p:spPr>
                <a:xfrm>
                  <a:off x="5724128" y="404664"/>
                  <a:ext cx="2304256" cy="103443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</p:grpSp>
          <p:sp>
            <p:nvSpPr>
              <p:cNvPr id="47" name="Textfeld 181"/>
              <p:cNvSpPr txBox="1"/>
              <p:nvPr/>
            </p:nvSpPr>
            <p:spPr>
              <a:xfrm>
                <a:off x="6373284" y="1740059"/>
                <a:ext cx="108920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+mj-lt"/>
                  </a:rPr>
                  <a:t>Gateway</a:t>
                </a:r>
              </a:p>
            </p:txBody>
          </p:sp>
          <p:sp>
            <p:nvSpPr>
              <p:cNvPr id="48" name="Left-Right Arrow 71"/>
              <p:cNvSpPr/>
              <p:nvPr/>
            </p:nvSpPr>
            <p:spPr>
              <a:xfrm rot="16200000">
                <a:off x="6041848" y="4747325"/>
                <a:ext cx="1752080" cy="569385"/>
              </a:xfrm>
              <a:prstGeom prst="leftRightArrow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grpSp>
            <p:nvGrpSpPr>
              <p:cNvPr id="51" name="Group 42"/>
              <p:cNvGrpSpPr/>
              <p:nvPr/>
            </p:nvGrpSpPr>
            <p:grpSpPr>
              <a:xfrm>
                <a:off x="5962118" y="3212976"/>
                <a:ext cx="324321" cy="324321"/>
                <a:chOff x="6235706" y="4922175"/>
                <a:chExt cx="268034" cy="268034"/>
              </a:xfrm>
            </p:grpSpPr>
            <p:sp>
              <p:nvSpPr>
                <p:cNvPr id="68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9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70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8" name="Group 42"/>
              <p:cNvGrpSpPr/>
              <p:nvPr/>
            </p:nvGrpSpPr>
            <p:grpSpPr>
              <a:xfrm>
                <a:off x="5952357" y="2667492"/>
                <a:ext cx="324321" cy="324321"/>
                <a:chOff x="6235706" y="4922175"/>
                <a:chExt cx="268034" cy="268034"/>
              </a:xfrm>
            </p:grpSpPr>
            <p:sp>
              <p:nvSpPr>
                <p:cNvPr id="62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3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64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59" name="Gerade Verbindung mit Pfeil 58"/>
              <p:cNvCxnSpPr>
                <a:cxnSpLocks/>
              </p:cNvCxnSpPr>
              <p:nvPr/>
            </p:nvCxnSpPr>
            <p:spPr bwMode="auto">
              <a:xfrm flipH="1">
                <a:off x="6286439" y="3302976"/>
                <a:ext cx="176640" cy="9000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Gerade Verbindung mit Pfeil 59"/>
              <p:cNvCxnSpPr>
                <a:cxnSpLocks/>
                <a:endCxn id="62" idx="3"/>
              </p:cNvCxnSpPr>
              <p:nvPr/>
            </p:nvCxnSpPr>
            <p:spPr bwMode="auto">
              <a:xfrm flipH="1" flipV="1">
                <a:off x="6276678" y="2829653"/>
                <a:ext cx="186401" cy="50297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61" name="図 7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472" y="2056041"/>
                <a:ext cx="1193968" cy="477587"/>
              </a:xfrm>
              <a:prstGeom prst="rect">
                <a:avLst/>
              </a:prstGeom>
            </p:spPr>
          </p:pic>
        </p:grpSp>
        <p:grpSp>
          <p:nvGrpSpPr>
            <p:cNvPr id="77" name="Group 1"/>
            <p:cNvGrpSpPr/>
            <p:nvPr/>
          </p:nvGrpSpPr>
          <p:grpSpPr>
            <a:xfrm>
              <a:off x="435411" y="332656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105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6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7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8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</p:grpSp>
        <p:sp>
          <p:nvSpPr>
            <p:cNvPr id="78" name="Left-Right Arrow 71"/>
            <p:cNvSpPr/>
            <p:nvPr/>
          </p:nvSpPr>
          <p:spPr>
            <a:xfrm rot="16200000">
              <a:off x="1821589" y="3258394"/>
              <a:ext cx="145014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79" name="Left-Right Arrow 73"/>
            <p:cNvSpPr/>
            <p:nvPr/>
          </p:nvSpPr>
          <p:spPr>
            <a:xfrm>
              <a:off x="3563888" y="2132856"/>
              <a:ext cx="244827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80" name="Textfeld 181"/>
            <p:cNvSpPr txBox="1"/>
            <p:nvPr/>
          </p:nvSpPr>
          <p:spPr>
            <a:xfrm>
              <a:off x="1721888" y="65755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loud</a:t>
              </a:r>
            </a:p>
          </p:txBody>
        </p:sp>
        <p:grpSp>
          <p:nvGrpSpPr>
            <p:cNvPr id="83" name="Group 42"/>
            <p:cNvGrpSpPr/>
            <p:nvPr/>
          </p:nvGrpSpPr>
          <p:grpSpPr>
            <a:xfrm>
              <a:off x="1629433" y="1879250"/>
              <a:ext cx="324321" cy="324321"/>
              <a:chOff x="6235706" y="4922175"/>
              <a:chExt cx="268034" cy="268034"/>
            </a:xfrm>
          </p:grpSpPr>
          <p:sp>
            <p:nvSpPr>
              <p:cNvPr id="99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1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0" name="Group 42"/>
            <p:cNvGrpSpPr/>
            <p:nvPr/>
          </p:nvGrpSpPr>
          <p:grpSpPr>
            <a:xfrm>
              <a:off x="1619672" y="1333766"/>
              <a:ext cx="324321" cy="324321"/>
              <a:chOff x="6235706" y="4922175"/>
              <a:chExt cx="268034" cy="268034"/>
            </a:xfrm>
          </p:grpSpPr>
          <p:sp>
            <p:nvSpPr>
              <p:cNvPr id="9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9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9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91" name="Gerade Verbindung mit Pfeil 90"/>
            <p:cNvCxnSpPr>
              <a:cxnSpLocks/>
            </p:cNvCxnSpPr>
            <p:nvPr/>
          </p:nvCxnSpPr>
          <p:spPr bwMode="auto">
            <a:xfrm flipH="1">
              <a:off x="1953754" y="196925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mit Pfeil 91"/>
            <p:cNvCxnSpPr>
              <a:cxnSpLocks/>
              <a:endCxn id="93" idx="3"/>
            </p:cNvCxnSpPr>
            <p:nvPr/>
          </p:nvCxnSpPr>
          <p:spPr bwMode="auto">
            <a:xfrm flipH="1" flipV="1">
              <a:off x="1943993" y="149592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1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4879" y="2543082"/>
              <a:ext cx="510204" cy="743617"/>
            </a:xfrm>
            <a:prstGeom prst="rect">
              <a:avLst/>
            </a:prstGeom>
          </p:spPr>
        </p:pic>
        <p:sp>
          <p:nvSpPr>
            <p:cNvPr id="112" name="Textfeld 163"/>
            <p:cNvSpPr txBox="1"/>
            <p:nvPr/>
          </p:nvSpPr>
          <p:spPr>
            <a:xfrm>
              <a:off x="-252536" y="4609764"/>
              <a:ext cx="15643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latin typeface="+mj-lt"/>
                </a:rPr>
                <a:t>Seamless</a:t>
              </a:r>
            </a:p>
            <a:p>
              <a:r>
                <a:rPr lang="en-US" sz="1400" b="1" dirty="0">
                  <a:latin typeface="+mj-lt"/>
                </a:rPr>
                <a:t>Web Integration</a:t>
              </a:r>
            </a:p>
          </p:txBody>
        </p:sp>
        <p:sp>
          <p:nvSpPr>
            <p:cNvPr id="117" name="Left-Right Arrow 70"/>
            <p:cNvSpPr/>
            <p:nvPr/>
          </p:nvSpPr>
          <p:spPr>
            <a:xfrm rot="2700000">
              <a:off x="940293" y="4132929"/>
              <a:ext cx="104455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18" name="Left-Right Arrow 70"/>
            <p:cNvSpPr/>
            <p:nvPr/>
          </p:nvSpPr>
          <p:spPr>
            <a:xfrm rot="18900000">
              <a:off x="941554" y="2974375"/>
              <a:ext cx="114021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20" name="Textfeld 162"/>
            <p:cNvSpPr txBox="1"/>
            <p:nvPr/>
          </p:nvSpPr>
          <p:spPr>
            <a:xfrm>
              <a:off x="3995936" y="2679247"/>
              <a:ext cx="19155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Remote Access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and Synchronization</a:t>
              </a:r>
            </a:p>
          </p:txBody>
        </p:sp>
        <p:sp>
          <p:nvSpPr>
            <p:cNvPr id="121" name="Textfeld 162"/>
            <p:cNvSpPr txBox="1"/>
            <p:nvPr/>
          </p:nvSpPr>
          <p:spPr>
            <a:xfrm>
              <a:off x="7397776" y="3447288"/>
              <a:ext cx="149470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Integration and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Orchestration</a:t>
              </a:r>
            </a:p>
          </p:txBody>
        </p:sp>
        <p:sp>
          <p:nvSpPr>
            <p:cNvPr id="124" name="Left-Right Arrow 70"/>
            <p:cNvSpPr/>
            <p:nvPr/>
          </p:nvSpPr>
          <p:spPr>
            <a:xfrm>
              <a:off x="3203848" y="474888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pic>
          <p:nvPicPr>
            <p:cNvPr id="139" name="Picture 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812360" y="4748880"/>
              <a:ext cx="100811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4F4A2F0-F524-0E44-B7F0-753DA5B8FFC6}"/>
                </a:ext>
              </a:extLst>
            </p:cNvPr>
            <p:cNvGrpSpPr/>
            <p:nvPr/>
          </p:nvGrpSpPr>
          <p:grpSpPr>
            <a:xfrm>
              <a:off x="2128109" y="1350169"/>
              <a:ext cx="1292399" cy="1358751"/>
              <a:chOff x="2123728" y="1196751"/>
              <a:chExt cx="5112568" cy="3431059"/>
            </a:xfrm>
          </p:grpSpPr>
          <p:sp>
            <p:nvSpPr>
              <p:cNvPr id="123" name="角丸四角形 6">
                <a:extLst>
                  <a:ext uri="{FF2B5EF4-FFF2-40B4-BE49-F238E27FC236}">
                    <a16:creationId xmlns:a16="http://schemas.microsoft.com/office/drawing/2014/main" id="{2899ADC7-2801-384A-8EBA-3552087A3B2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25" name="角丸四角形 21">
                <a:extLst>
                  <a:ext uri="{FF2B5EF4-FFF2-40B4-BE49-F238E27FC236}">
                    <a16:creationId xmlns:a16="http://schemas.microsoft.com/office/drawing/2014/main" id="{973319BE-2675-C946-BF86-8EB822FB9E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26" name="角丸四角形 21">
                <a:extLst>
                  <a:ext uri="{FF2B5EF4-FFF2-40B4-BE49-F238E27FC236}">
                    <a16:creationId xmlns:a16="http://schemas.microsoft.com/office/drawing/2014/main" id="{18B50391-17D6-C645-8F85-0E3A949524F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27" name="角丸四角形 21">
                <a:extLst>
                  <a:ext uri="{FF2B5EF4-FFF2-40B4-BE49-F238E27FC236}">
                    <a16:creationId xmlns:a16="http://schemas.microsoft.com/office/drawing/2014/main" id="{D7BBEBD1-407C-4B4C-BBA8-72AB5088FA85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28" name="角丸四角形 21">
                <a:extLst>
                  <a:ext uri="{FF2B5EF4-FFF2-40B4-BE49-F238E27FC236}">
                    <a16:creationId xmlns:a16="http://schemas.microsoft.com/office/drawing/2014/main" id="{16A39CBA-EB30-FC44-A68F-207E224A6C5A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F63C1EDA-0ECD-BF47-8989-738A8C961DD8}"/>
                </a:ext>
              </a:extLst>
            </p:cNvPr>
            <p:cNvGrpSpPr/>
            <p:nvPr/>
          </p:nvGrpSpPr>
          <p:grpSpPr>
            <a:xfrm>
              <a:off x="6650650" y="1858672"/>
              <a:ext cx="1292399" cy="1358751"/>
              <a:chOff x="2123728" y="1196751"/>
              <a:chExt cx="5112568" cy="3431059"/>
            </a:xfrm>
          </p:grpSpPr>
          <p:sp>
            <p:nvSpPr>
              <p:cNvPr id="130" name="角丸四角形 6">
                <a:extLst>
                  <a:ext uri="{FF2B5EF4-FFF2-40B4-BE49-F238E27FC236}">
                    <a16:creationId xmlns:a16="http://schemas.microsoft.com/office/drawing/2014/main" id="{CD6401EB-BB5E-7D43-A2D1-775B95757697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1" name="角丸四角形 21">
                <a:extLst>
                  <a:ext uri="{FF2B5EF4-FFF2-40B4-BE49-F238E27FC236}">
                    <a16:creationId xmlns:a16="http://schemas.microsoft.com/office/drawing/2014/main" id="{F32588F2-EEEB-B943-B2E3-7B4B2288317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2" name="角丸四角形 21">
                <a:extLst>
                  <a:ext uri="{FF2B5EF4-FFF2-40B4-BE49-F238E27FC236}">
                    <a16:creationId xmlns:a16="http://schemas.microsoft.com/office/drawing/2014/main" id="{65F1B5FA-47A2-3E48-A628-FD86E1CFAA9C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33" name="角丸四角形 21">
                <a:extLst>
                  <a:ext uri="{FF2B5EF4-FFF2-40B4-BE49-F238E27FC236}">
                    <a16:creationId xmlns:a16="http://schemas.microsoft.com/office/drawing/2014/main" id="{BA3C6F50-C511-8248-8C01-0FB7545CD3A6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34" name="角丸四角形 21">
                <a:extLst>
                  <a:ext uri="{FF2B5EF4-FFF2-40B4-BE49-F238E27FC236}">
                    <a16:creationId xmlns:a16="http://schemas.microsoft.com/office/drawing/2014/main" id="{8D53963A-84D7-FF4D-8E11-37BEF4BCC14B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6EC4507-C197-A744-A811-4F5F75A27793}"/>
                </a:ext>
              </a:extLst>
            </p:cNvPr>
            <p:cNvGrpSpPr/>
            <p:nvPr/>
          </p:nvGrpSpPr>
          <p:grpSpPr>
            <a:xfrm>
              <a:off x="1893817" y="4509120"/>
              <a:ext cx="1292399" cy="1358751"/>
              <a:chOff x="2123728" y="1196751"/>
              <a:chExt cx="5112568" cy="3431059"/>
            </a:xfrm>
          </p:grpSpPr>
          <p:sp>
            <p:nvSpPr>
              <p:cNvPr id="136" name="角丸四角形 6">
                <a:extLst>
                  <a:ext uri="{FF2B5EF4-FFF2-40B4-BE49-F238E27FC236}">
                    <a16:creationId xmlns:a16="http://schemas.microsoft.com/office/drawing/2014/main" id="{B21C993F-DFA1-F843-A4E4-3944810C7D4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7" name="角丸四角形 21">
                <a:extLst>
                  <a:ext uri="{FF2B5EF4-FFF2-40B4-BE49-F238E27FC236}">
                    <a16:creationId xmlns:a16="http://schemas.microsoft.com/office/drawing/2014/main" id="{B1C13162-0A60-EC49-9E1F-1BBA312190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8" name="角丸四角形 21">
                <a:extLst>
                  <a:ext uri="{FF2B5EF4-FFF2-40B4-BE49-F238E27FC236}">
                    <a16:creationId xmlns:a16="http://schemas.microsoft.com/office/drawing/2014/main" id="{78EEE6ED-69F8-8742-A5E8-3C4A7E7F56F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0" name="角丸四角形 21">
                <a:extLst>
                  <a:ext uri="{FF2B5EF4-FFF2-40B4-BE49-F238E27FC236}">
                    <a16:creationId xmlns:a16="http://schemas.microsoft.com/office/drawing/2014/main" id="{3B713D4C-8FF0-C04B-BD18-D89526847B5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1" name="角丸四角形 21">
                <a:extLst>
                  <a:ext uri="{FF2B5EF4-FFF2-40B4-BE49-F238E27FC236}">
                    <a16:creationId xmlns:a16="http://schemas.microsoft.com/office/drawing/2014/main" id="{AA0A66D2-4228-7146-80CF-EEFB089763E1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pic>
          <p:nvPicPr>
            <p:cNvPr id="119" name="Picture 2" descr="http://www.smarthome.com/media/catalog/product/cache/1/image/398x328/9df78eab33525d08d6e5fb8d27136e95/m/o/motion-sensor-hero-shadow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43970" y1="81098" x2="43970" y2="81098"/>
                          <a14:foregroundMark x1="49246" y1="80488" x2="49246" y2="80488"/>
                          <a14:foregroundMark x1="56030" y1="81098" x2="56030" y2="81098"/>
                          <a14:foregroundMark x1="63065" y1="78963" x2="63065" y2="78963"/>
                          <a14:foregroundMark x1="66583" y1="77744" x2="66583" y2="77744"/>
                          <a14:foregroundMark x1="35678" y1="78049" x2="35678" y2="78049"/>
                          <a14:foregroundMark x1="39698" y1="80183" x2="39698" y2="80183"/>
                          <a14:foregroundMark x1="41206" y1="80183" x2="41206" y2="80183"/>
                          <a14:foregroundMark x1="36683" y1="78963" x2="36683" y2="78963"/>
                          <a14:foregroundMark x1="46985" y1="81707" x2="46985" y2="81707"/>
                          <a14:foregroundMark x1="52261" y1="81707" x2="52261" y2="81707"/>
                          <a14:foregroundMark x1="54523" y1="81707" x2="54523" y2="81707"/>
                          <a14:foregroundMark x1="54271" y1="79573" x2="54271" y2="79573"/>
                          <a14:foregroundMark x1="59799" y1="79878" x2="59799" y2="79878"/>
                          <a14:foregroundMark x1="63568" y1="78659" x2="63568" y2="78659"/>
                          <a14:foregroundMark x1="64824" y1="78354" x2="64824" y2="78354"/>
                          <a14:foregroundMark x1="65578" y1="78049" x2="65578" y2="78049"/>
                          <a14:foregroundMark x1="67085" y1="77134" x2="67085" y2="77134"/>
                          <a14:foregroundMark x1="42965" y1="80488" x2="42965" y2="80488"/>
                          <a14:foregroundMark x1="45729" y1="80793" x2="45729" y2="80793"/>
                          <a14:foregroundMark x1="50754" y1="80793" x2="50754" y2="80793"/>
                          <a14:foregroundMark x1="48241" y1="80793" x2="48241" y2="80793"/>
                          <a14:foregroundMark x1="57035" y1="80488" x2="57035" y2="80488"/>
                          <a14:foregroundMark x1="38442" y1="79573" x2="38442" y2="79573"/>
                          <a14:foregroundMark x1="37437" y1="78963" x2="37437" y2="78963"/>
                          <a14:foregroundMark x1="50000" y1="80793" x2="50000" y2="80793"/>
                          <a14:foregroundMark x1="42211" y1="80488" x2="42211" y2="80488"/>
                          <a14:foregroundMark x1="61055" y1="79268" x2="61055" y2="79268"/>
                          <a14:foregroundMark x1="62060" y1="79268" x2="62060" y2="79268"/>
                          <a14:foregroundMark x1="58543" y1="79573" x2="58543" y2="79573"/>
                          <a14:foregroundMark x1="58291" y1="80183" x2="58291" y2="80183"/>
                          <a14:foregroundMark x1="58794" y1="80183" x2="58794" y2="80183"/>
                          <a14:foregroundMark x1="60302" y1="79573" x2="60302" y2="79573"/>
                          <a14:foregroundMark x1="34673" y1="77744" x2="34673" y2="77744"/>
                          <a14:foregroundMark x1="33166" y1="76829" x2="33166" y2="76829"/>
                          <a14:foregroundMark x1="32412" y1="75915" x2="32412" y2="759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979" y="5733256"/>
              <a:ext cx="1340486" cy="1104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35"/>
            <p:cNvGrpSpPr/>
            <p:nvPr/>
          </p:nvGrpSpPr>
          <p:grpSpPr>
            <a:xfrm>
              <a:off x="1911238" y="4197114"/>
              <a:ext cx="324321" cy="324321"/>
              <a:chOff x="6235706" y="4922175"/>
              <a:chExt cx="268034" cy="268034"/>
            </a:xfrm>
          </p:grpSpPr>
          <p:sp>
            <p:nvSpPr>
              <p:cNvPr id="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8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9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0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1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1F9D31BE-68A1-AC4E-99DE-03A7F337E423}"/>
                </a:ext>
              </a:extLst>
            </p:cNvPr>
            <p:cNvGrpSpPr/>
            <p:nvPr/>
          </p:nvGrpSpPr>
          <p:grpSpPr>
            <a:xfrm>
              <a:off x="4932040" y="4509120"/>
              <a:ext cx="1292399" cy="1358751"/>
              <a:chOff x="2123728" y="1196751"/>
              <a:chExt cx="5112568" cy="3431059"/>
            </a:xfrm>
          </p:grpSpPr>
          <p:sp>
            <p:nvSpPr>
              <p:cNvPr id="143" name="角丸四角形 6">
                <a:extLst>
                  <a:ext uri="{FF2B5EF4-FFF2-40B4-BE49-F238E27FC236}">
                    <a16:creationId xmlns:a16="http://schemas.microsoft.com/office/drawing/2014/main" id="{55BF921A-9353-2D43-9B1D-A47484A5B009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44" name="角丸四角形 21">
                <a:extLst>
                  <a:ext uri="{FF2B5EF4-FFF2-40B4-BE49-F238E27FC236}">
                    <a16:creationId xmlns:a16="http://schemas.microsoft.com/office/drawing/2014/main" id="{513DA581-6DB1-2945-88D1-2CF82017020F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45" name="角丸四角形 21">
                <a:extLst>
                  <a:ext uri="{FF2B5EF4-FFF2-40B4-BE49-F238E27FC236}">
                    <a16:creationId xmlns:a16="http://schemas.microsoft.com/office/drawing/2014/main" id="{D3B29F63-4207-7741-B522-E9963423A06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6" name="角丸四角形 21">
                <a:extLst>
                  <a:ext uri="{FF2B5EF4-FFF2-40B4-BE49-F238E27FC236}">
                    <a16:creationId xmlns:a16="http://schemas.microsoft.com/office/drawing/2014/main" id="{618022E1-44C2-5B40-A458-32F256A48EA1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7" name="角丸四角形 21">
                <a:extLst>
                  <a:ext uri="{FF2B5EF4-FFF2-40B4-BE49-F238E27FC236}">
                    <a16:creationId xmlns:a16="http://schemas.microsoft.com/office/drawing/2014/main" id="{2AAC67D1-2616-0944-9EC9-BB9BD46EA71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9A303AC7-012B-8B4B-B903-45540DFF9BEE}"/>
                </a:ext>
              </a:extLst>
            </p:cNvPr>
            <p:cNvGrpSpPr/>
            <p:nvPr/>
          </p:nvGrpSpPr>
          <p:grpSpPr>
            <a:xfrm>
              <a:off x="-230451" y="3253038"/>
              <a:ext cx="1292399" cy="1358751"/>
              <a:chOff x="2123728" y="1196751"/>
              <a:chExt cx="5112568" cy="3431059"/>
            </a:xfrm>
          </p:grpSpPr>
          <p:sp>
            <p:nvSpPr>
              <p:cNvPr id="149" name="角丸四角形 6">
                <a:extLst>
                  <a:ext uri="{FF2B5EF4-FFF2-40B4-BE49-F238E27FC236}">
                    <a16:creationId xmlns:a16="http://schemas.microsoft.com/office/drawing/2014/main" id="{98276D38-9565-274C-AC17-74BB704AFC3C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50" name="角丸四角形 21">
                <a:extLst>
                  <a:ext uri="{FF2B5EF4-FFF2-40B4-BE49-F238E27FC236}">
                    <a16:creationId xmlns:a16="http://schemas.microsoft.com/office/drawing/2014/main" id="{14E6276F-6F6F-184D-8D5B-C12FA289E94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51" name="角丸四角形 21">
                <a:extLst>
                  <a:ext uri="{FF2B5EF4-FFF2-40B4-BE49-F238E27FC236}">
                    <a16:creationId xmlns:a16="http://schemas.microsoft.com/office/drawing/2014/main" id="{E3DEED48-7A38-DC4A-8861-F21DF781ABC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52" name="角丸四角形 21">
                <a:extLst>
                  <a:ext uri="{FF2B5EF4-FFF2-40B4-BE49-F238E27FC236}">
                    <a16:creationId xmlns:a16="http://schemas.microsoft.com/office/drawing/2014/main" id="{AB4A9856-BA9D-8F4D-A23B-0B0A72F44B0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53" name="角丸四角形 21">
                <a:extLst>
                  <a:ext uri="{FF2B5EF4-FFF2-40B4-BE49-F238E27FC236}">
                    <a16:creationId xmlns:a16="http://schemas.microsoft.com/office/drawing/2014/main" id="{5914EDE6-D2AE-FE4D-B79B-302B9E273BE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14440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9763907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8FA7672-C62D-4740-A1B1-563DF3408ABA}"/>
              </a:ext>
            </a:extLst>
          </p:cNvPr>
          <p:cNvGrpSpPr/>
          <p:nvPr/>
        </p:nvGrpSpPr>
        <p:grpSpPr>
          <a:xfrm>
            <a:off x="3849104" y="573197"/>
            <a:ext cx="5112568" cy="3431058"/>
            <a:chOff x="2123728" y="1196752"/>
            <a:chExt cx="5112568" cy="3431058"/>
          </a:xfrm>
        </p:grpSpPr>
        <p:sp>
          <p:nvSpPr>
            <p:cNvPr id="38" name="角丸四角形 6"/>
            <p:cNvSpPr/>
            <p:nvPr/>
          </p:nvSpPr>
          <p:spPr bwMode="auto">
            <a:xfrm>
              <a:off x="2123728" y="1196752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39" name="角丸四角形 21"/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30" name="角丸四角形 21"/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34" name="角丸四角形 21">
              <a:extLst>
                <a:ext uri="{FF2B5EF4-FFF2-40B4-BE49-F238E27FC236}">
                  <a16:creationId xmlns:a16="http://schemas.microsoft.com/office/drawing/2014/main" id="{9586E025-100A-4285-892D-B25E864F6ED3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E85FD62-B4FB-4BBF-87DB-28557DF2C379}"/>
              </a:ext>
            </a:extLst>
          </p:cNvPr>
          <p:cNvGrpSpPr/>
          <p:nvPr/>
        </p:nvGrpSpPr>
        <p:grpSpPr>
          <a:xfrm>
            <a:off x="311886" y="590869"/>
            <a:ext cx="3168352" cy="2866271"/>
            <a:chOff x="311886" y="590869"/>
            <a:chExt cx="3168352" cy="2866271"/>
          </a:xfrm>
        </p:grpSpPr>
        <p:sp>
          <p:nvSpPr>
            <p:cNvPr id="8" name="角丸四角形 21">
              <a:extLst>
                <a:ext uri="{FF2B5EF4-FFF2-40B4-BE49-F238E27FC236}">
                  <a16:creationId xmlns:a16="http://schemas.microsoft.com/office/drawing/2014/main" id="{2A64F9A3-7DE9-4E19-83D5-F4BFD3C44CDB}"/>
                </a:ext>
              </a:extLst>
            </p:cNvPr>
            <p:cNvSpPr/>
            <p:nvPr/>
          </p:nvSpPr>
          <p:spPr bwMode="auto">
            <a:xfrm>
              <a:off x="311886" y="590869"/>
              <a:ext cx="3168352" cy="2866271"/>
            </a:xfrm>
            <a:prstGeom prst="foldedCorner">
              <a:avLst>
                <a:gd name="adj" fmla="val 20194"/>
              </a:avLst>
            </a:prstGeom>
            <a:solidFill>
              <a:schemeClr val="accent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Thing 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FBE5BC5-430C-49E7-9C3C-659FC44FB22D}"/>
                </a:ext>
              </a:extLst>
            </p:cNvPr>
            <p:cNvGrpSpPr/>
            <p:nvPr/>
          </p:nvGrpSpPr>
          <p:grpSpPr>
            <a:xfrm>
              <a:off x="455948" y="706410"/>
              <a:ext cx="413417" cy="426971"/>
              <a:chOff x="1789088" y="2720452"/>
              <a:chExt cx="413417" cy="426971"/>
            </a:xfrm>
          </p:grpSpPr>
          <p:sp>
            <p:nvSpPr>
              <p:cNvPr id="10" name="Isosceles Triangle 29">
                <a:extLst>
                  <a:ext uri="{FF2B5EF4-FFF2-40B4-BE49-F238E27FC236}">
                    <a16:creationId xmlns:a16="http://schemas.microsoft.com/office/drawing/2014/main" id="{C1B6AE6A-DB41-4605-866F-A397BF03B048}"/>
                  </a:ext>
                </a:extLst>
              </p:cNvPr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1" name="Oval 30">
                <a:extLst>
                  <a:ext uri="{FF2B5EF4-FFF2-40B4-BE49-F238E27FC236}">
                    <a16:creationId xmlns:a16="http://schemas.microsoft.com/office/drawing/2014/main" id="{88847FEB-0D0B-4239-8D8C-B28B252ACF17}"/>
                  </a:ext>
                </a:extLst>
              </p:cNvPr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2" name="Oval 31">
                <a:extLst>
                  <a:ext uri="{FF2B5EF4-FFF2-40B4-BE49-F238E27FC236}">
                    <a16:creationId xmlns:a16="http://schemas.microsoft.com/office/drawing/2014/main" id="{43FAED49-5DA5-4F53-94B8-06092E528492}"/>
                  </a:ext>
                </a:extLst>
              </p:cNvPr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2">
                <a:extLst>
                  <a:ext uri="{FF2B5EF4-FFF2-40B4-BE49-F238E27FC236}">
                    <a16:creationId xmlns:a16="http://schemas.microsoft.com/office/drawing/2014/main" id="{F9F29704-DA11-48C4-8FF5-774586B66E96}"/>
                  </a:ext>
                </a:extLst>
              </p:cNvPr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5" name="Down Arrow 40">
            <a:extLst>
              <a:ext uri="{FF2B5EF4-FFF2-40B4-BE49-F238E27FC236}">
                <a16:creationId xmlns:a16="http://schemas.microsoft.com/office/drawing/2014/main" id="{892FA086-088E-446C-9893-C94D7AD0384F}"/>
              </a:ext>
            </a:extLst>
          </p:cNvPr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>
            <a:extLst>
              <a:ext uri="{FF2B5EF4-FFF2-40B4-BE49-F238E27FC236}">
                <a16:creationId xmlns:a16="http://schemas.microsoft.com/office/drawing/2014/main" id="{A917B2E1-3044-421E-9608-24FF1E853CC9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67685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5D3443C-7E1D-4537-8CA5-BB2514A3C955}"/>
              </a:ext>
            </a:extLst>
          </p:cNvPr>
          <p:cNvGrpSpPr/>
          <p:nvPr/>
        </p:nvGrpSpPr>
        <p:grpSpPr>
          <a:xfrm>
            <a:off x="311886" y="590869"/>
            <a:ext cx="3168352" cy="2866271"/>
            <a:chOff x="311886" y="590869"/>
            <a:chExt cx="3168352" cy="2866271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311886" y="590869"/>
              <a:ext cx="3168352" cy="2866271"/>
            </a:xfrm>
            <a:prstGeom prst="foldedCorner">
              <a:avLst>
                <a:gd name="adj" fmla="val 20194"/>
              </a:avLst>
            </a:prstGeom>
            <a:solidFill>
              <a:schemeClr val="accent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 Thing 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2FFF27F-191B-4FA4-9D8A-F3CE1954E6C9}"/>
                </a:ext>
              </a:extLst>
            </p:cNvPr>
            <p:cNvGrpSpPr/>
            <p:nvPr/>
          </p:nvGrpSpPr>
          <p:grpSpPr>
            <a:xfrm>
              <a:off x="455948" y="706410"/>
              <a:ext cx="413417" cy="426971"/>
              <a:chOff x="1789088" y="2720452"/>
              <a:chExt cx="413417" cy="426971"/>
            </a:xfrm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371703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27661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5936" y="2587495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5936" y="1844824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3918252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168268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3645024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809168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6003" y="37396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6003" y="2996952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6" name="角丸四角形 21">
            <a:extLst>
              <a:ext uri="{FF2B5EF4-FFF2-40B4-BE49-F238E27FC236}">
                <a16:creationId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427984" y="2060848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</p:spTree>
    <p:extLst>
      <p:ext uri="{BB962C8B-B14F-4D97-AF65-F5344CB8AC3E}">
        <p14:creationId xmlns:p14="http://schemas.microsoft.com/office/powerpoint/2010/main" val="29632454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06350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435032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652185"/>
            <a:ext cx="1954972" cy="1308975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4006682" y="4261811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607836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607836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607836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607836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77788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77502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4654702" y="4882216"/>
            <a:ext cx="0" cy="89566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  <a:stCxn id="58" idx="2"/>
            <a:endCxn id="40" idx="0"/>
          </p:cNvCxnSpPr>
          <p:nvPr/>
        </p:nvCxnSpPr>
        <p:spPr>
          <a:xfrm>
            <a:off x="5830833" y="4882216"/>
            <a:ext cx="0" cy="89566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  <a:endCxn id="57" idx="2"/>
          </p:cNvCxnSpPr>
          <p:nvPr/>
        </p:nvCxnSpPr>
        <p:spPr>
          <a:xfrm flipV="1">
            <a:off x="8183094" y="4882216"/>
            <a:ext cx="0" cy="89281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77788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77502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>
            <a:cxnSpLocks/>
            <a:stCxn id="33" idx="0"/>
            <a:endCxn id="59" idx="2"/>
          </p:cNvCxnSpPr>
          <p:nvPr/>
        </p:nvCxnSpPr>
        <p:spPr>
          <a:xfrm flipV="1">
            <a:off x="7006964" y="4882216"/>
            <a:ext cx="0" cy="89281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072501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5200" y="1380616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694ED1D-FF40-4BEF-90B0-0A740277EB3C}"/>
              </a:ext>
            </a:extLst>
          </p:cNvPr>
          <p:cNvGrpSpPr/>
          <p:nvPr/>
        </p:nvGrpSpPr>
        <p:grpSpPr>
          <a:xfrm>
            <a:off x="4086651" y="1196752"/>
            <a:ext cx="4629137" cy="2334094"/>
            <a:chOff x="4086651" y="1605857"/>
            <a:chExt cx="4629137" cy="2334094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4604379" y="3524758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03A5E1D-9269-4EE3-9779-3C1588B3A22A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0" name="縦巻き 49"/>
            <p:cNvSpPr/>
            <p:nvPr/>
          </p:nvSpPr>
          <p:spPr bwMode="auto">
            <a:xfrm>
              <a:off x="4086651" y="1605857"/>
              <a:ext cx="4629137" cy="955756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1992657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13A8057-7D26-408A-B133-8DB859E1D51F}"/>
                </a:ext>
              </a:extLst>
            </p:cNvPr>
            <p:cNvSpPr txBox="1"/>
            <p:nvPr/>
          </p:nvSpPr>
          <p:spPr>
            <a:xfrm>
              <a:off x="5689295" y="1716233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FE0877AF-1373-423B-A74A-66B656D4D57A}"/>
              </a:ext>
            </a:extLst>
          </p:cNvPr>
          <p:cNvSpPr/>
          <p:nvPr/>
        </p:nvSpPr>
        <p:spPr bwMode="auto">
          <a:xfrm>
            <a:off x="4572000" y="3637433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35562283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0</TotalTime>
  <Words>1304</Words>
  <Application>Microsoft Office PowerPoint</Application>
  <PresentationFormat>On-screen Show (4:3)</PresentationFormat>
  <Paragraphs>643</Paragraphs>
  <Slides>27</Slides>
  <Notes>24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116</cp:revision>
  <cp:lastPrinted>2017-08-07T13:47:57Z</cp:lastPrinted>
  <dcterms:created xsi:type="dcterms:W3CDTF">2017-08-07T12:37:27Z</dcterms:created>
  <dcterms:modified xsi:type="dcterms:W3CDTF">2019-04-25T05:1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5:12:17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